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8"/>
  </p:notesMasterIdLst>
  <p:handoutMasterIdLst>
    <p:handoutMasterId r:id="rId9"/>
  </p:handoutMasterIdLst>
  <p:sldIdLst>
    <p:sldId id="286" r:id="rId4"/>
    <p:sldId id="1501" r:id="rId5"/>
    <p:sldId id="1502" r:id="rId6"/>
    <p:sldId id="1503" r:id="rId7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2"/>
            <p14:sldId id="1503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3/1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3/1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33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57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09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86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1" name="Picture 141" descr="Alert Stop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862764"/>
              </p:ext>
            </p:extLst>
          </p:nvPr>
        </p:nvGraphicFramePr>
        <p:xfrm>
          <a:off x="893610" y="1814679"/>
          <a:ext cx="7463897" cy="828216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收到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BRD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文档的第二版本，与业务方完成权限确认，并编制完成第一版需求文档说明书，与数据湖人员沟通数据源信息表，后台开发人员完成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SI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建模的基础部分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87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556" y="2191010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25~03/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8" name="表格 3">
            <a:extLst>
              <a:ext uri="{FF2B5EF4-FFF2-40B4-BE49-F238E27FC236}">
                <a16:creationId xmlns:a16="http://schemas.microsoft.com/office/drawing/2014/main" id="{4D47958C-F116-44F4-98C5-665E598C7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061075"/>
              </p:ext>
            </p:extLst>
          </p:nvPr>
        </p:nvGraphicFramePr>
        <p:xfrm>
          <a:off x="615504" y="1633364"/>
          <a:ext cx="8928992" cy="3208059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部分数据源梳理，确定所需数据的涉及范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与埃森哲人员进行沟通，划定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GMV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据部分的涉及范围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25-2/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撰写需求说明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与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BM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客户方的仪表盘权限功能确认，并更新需求说明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59996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部分数据源梳理，与埃森哲的人员及客户进行二次会议沟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完成了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梳理，涉及的表来源。</a:t>
                      </a: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已经接入的平台有，苏宁，京东和天猫。京东目前只接了商品明细表，其他的表没有入湖，权限问题由伊利同事跟进，我买网，拼多多和唯品会未入湖。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199417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27-2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部分数据确认，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建模基础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I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部分建模工作已经完成基础部分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977947"/>
                  </a:ext>
                </a:extLst>
              </a:tr>
              <a:tr h="199417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27-3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针对于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D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文档的更新（新增一张仪表盘，并更改其他仪表盘配置），与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BM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客户方做沟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与客户方的用户权限确认与划分，并对仪表盘细节进行讨论，完成需求文档的第一版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91621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04~03/08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5F52B9F2-4591-4609-B0A6-16CB1390F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441762"/>
              </p:ext>
            </p:extLst>
          </p:nvPr>
        </p:nvGraphicFramePr>
        <p:xfrm>
          <a:off x="615504" y="1633364"/>
          <a:ext cx="8928992" cy="1493632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4-3/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针对于前端部分及业务功能部分的需求澄清与讲解，并对于需求文档做二次的更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解答关于开发过程中的任何需求问题并修改需求文档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4-3/0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I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部分建模工作，如果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源问题解决，加快建立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 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模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快建立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模型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6-03/0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开发人员沟通展现层映射脚本编写逻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跟进开发进度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并建立前后端人员沟通会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196249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7-03/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元测试的部分准备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仪表盘开发完成做测试准备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6C1FA0-0CDF-4702-9707-9C2B645B4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62B184-1E10-4F2B-B8EB-E4BFE65AD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1~03/1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FA3EEED2-0EB9-412E-B3AD-5DE36B355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793925"/>
              </p:ext>
            </p:extLst>
          </p:nvPr>
        </p:nvGraphicFramePr>
        <p:xfrm>
          <a:off x="615504" y="1633364"/>
          <a:ext cx="8928992" cy="1282233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测试用例撰写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测试用例撰，并与客户确认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03/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前端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完成仪表盘开发工作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4-03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始对已完成的仪表盘进行调整和内部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前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开发完成的仪表盘进行检查和确认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918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6</TotalTime>
  <Words>942</Words>
  <Application>Microsoft Office PowerPoint</Application>
  <PresentationFormat>Custom</PresentationFormat>
  <Paragraphs>114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828</cp:revision>
  <dcterms:created xsi:type="dcterms:W3CDTF">2011-03-15T09:00:00Z</dcterms:created>
  <dcterms:modified xsi:type="dcterms:W3CDTF">2019-03-01T10:2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